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D$2:$D$234</c:f>
              <c:numCache>
                <c:formatCode>#,##0</c:formatCode>
                <c:ptCount val="233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39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1</c:v>
                </c:pt>
                <c:pt idx="182">
                  <c:v>798</c:v>
                </c:pt>
                <c:pt idx="183">
                  <c:v>804</c:v>
                </c:pt>
                <c:pt idx="184">
                  <c:v>825</c:v>
                </c:pt>
                <c:pt idx="185">
                  <c:v>840</c:v>
                </c:pt>
                <c:pt idx="186">
                  <c:v>850</c:v>
                </c:pt>
                <c:pt idx="187">
                  <c:v>869</c:v>
                </c:pt>
                <c:pt idx="188">
                  <c:v>918</c:v>
                </c:pt>
                <c:pt idx="189">
                  <c:v>908</c:v>
                </c:pt>
                <c:pt idx="190">
                  <c:v>917</c:v>
                </c:pt>
                <c:pt idx="191">
                  <c:v>918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3</c:v>
                </c:pt>
                <c:pt idx="199">
                  <c:v>945</c:v>
                </c:pt>
                <c:pt idx="200">
                  <c:v>940</c:v>
                </c:pt>
                <c:pt idx="201">
                  <c:v>935</c:v>
                </c:pt>
                <c:pt idx="202">
                  <c:v>974</c:v>
                </c:pt>
                <c:pt idx="203">
                  <c:v>933</c:v>
                </c:pt>
                <c:pt idx="204">
                  <c:v>925</c:v>
                </c:pt>
                <c:pt idx="205">
                  <c:v>913</c:v>
                </c:pt>
                <c:pt idx="206">
                  <c:v>915</c:v>
                </c:pt>
                <c:pt idx="207">
                  <c:v>881</c:v>
                </c:pt>
                <c:pt idx="208">
                  <c:v>866</c:v>
                </c:pt>
                <c:pt idx="209">
                  <c:v>870</c:v>
                </c:pt>
                <c:pt idx="210">
                  <c:v>844</c:v>
                </c:pt>
                <c:pt idx="211">
                  <c:v>816</c:v>
                </c:pt>
                <c:pt idx="212">
                  <c:v>795</c:v>
                </c:pt>
                <c:pt idx="213">
                  <c:v>766</c:v>
                </c:pt>
                <c:pt idx="214">
                  <c:v>729</c:v>
                </c:pt>
                <c:pt idx="215">
                  <c:v>718</c:v>
                </c:pt>
                <c:pt idx="216">
                  <c:v>715</c:v>
                </c:pt>
                <c:pt idx="217">
                  <c:v>738</c:v>
                </c:pt>
                <c:pt idx="218">
                  <c:v>714</c:v>
                </c:pt>
                <c:pt idx="219">
                  <c:v>681</c:v>
                </c:pt>
                <c:pt idx="220">
                  <c:v>640</c:v>
                </c:pt>
                <c:pt idx="221">
                  <c:v>617</c:v>
                </c:pt>
                <c:pt idx="222">
                  <c:v>618</c:v>
                </c:pt>
                <c:pt idx="223">
                  <c:v>608</c:v>
                </c:pt>
                <c:pt idx="224">
                  <c:v>588</c:v>
                </c:pt>
                <c:pt idx="225">
                  <c:v>555</c:v>
                </c:pt>
                <c:pt idx="226">
                  <c:v>536</c:v>
                </c:pt>
                <c:pt idx="227">
                  <c:v>528</c:v>
                </c:pt>
                <c:pt idx="228">
                  <c:v>501</c:v>
                </c:pt>
                <c:pt idx="229" formatCode="General">
                  <c:v>507</c:v>
                </c:pt>
                <c:pt idx="230" formatCode="General">
                  <c:v>507</c:v>
                </c:pt>
                <c:pt idx="231" formatCode="General">
                  <c:v>493</c:v>
                </c:pt>
                <c:pt idx="232" formatCode="General">
                  <c:v>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951155278743182E-2"/>
                  <c:y val="-6.990422169258099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5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2B3-47F2-9BD6-517B264C61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B$2:$B$234</c:f>
              <c:numCache>
                <c:formatCode>#,##0</c:formatCode>
                <c:ptCount val="233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 formatCode="General">
                  <c:v>528</c:v>
                </c:pt>
                <c:pt idx="230" formatCode="General">
                  <c:v>552</c:v>
                </c:pt>
                <c:pt idx="231" formatCode="General">
                  <c:v>593</c:v>
                </c:pt>
                <c:pt idx="232" formatCode="General">
                  <c:v>5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C$2:$C$234</c:f>
              <c:numCache>
                <c:formatCode>#,##0</c:formatCode>
                <c:ptCount val="23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D$2:$D$234</c:f>
              <c:numCache>
                <c:formatCode>#,##0</c:formatCode>
                <c:ptCount val="233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59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5</c:v>
                </c:pt>
                <c:pt idx="128">
                  <c:v>3078</c:v>
                </c:pt>
                <c:pt idx="129">
                  <c:v>2936</c:v>
                </c:pt>
                <c:pt idx="130">
                  <c:v>2967</c:v>
                </c:pt>
                <c:pt idx="131">
                  <c:v>2974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6</c:v>
                </c:pt>
                <c:pt idx="136">
                  <c:v>2874</c:v>
                </c:pt>
                <c:pt idx="137">
                  <c:v>2759</c:v>
                </c:pt>
                <c:pt idx="138">
                  <c:v>2746</c:v>
                </c:pt>
                <c:pt idx="139">
                  <c:v>2702</c:v>
                </c:pt>
                <c:pt idx="140">
                  <c:v>2640</c:v>
                </c:pt>
                <c:pt idx="141">
                  <c:v>2596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9</c:v>
                </c:pt>
                <c:pt idx="158">
                  <c:v>2347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4</c:v>
                </c:pt>
                <c:pt idx="182">
                  <c:v>3620</c:v>
                </c:pt>
                <c:pt idx="183">
                  <c:v>3596</c:v>
                </c:pt>
                <c:pt idx="184">
                  <c:v>3679</c:v>
                </c:pt>
                <c:pt idx="185">
                  <c:v>3706</c:v>
                </c:pt>
                <c:pt idx="186">
                  <c:v>3786</c:v>
                </c:pt>
                <c:pt idx="187">
                  <c:v>3874</c:v>
                </c:pt>
                <c:pt idx="188">
                  <c:v>3926</c:v>
                </c:pt>
                <c:pt idx="189">
                  <c:v>3942</c:v>
                </c:pt>
                <c:pt idx="190">
                  <c:v>3955</c:v>
                </c:pt>
                <c:pt idx="191">
                  <c:v>3925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39</c:v>
                </c:pt>
                <c:pt idx="205">
                  <c:v>3469</c:v>
                </c:pt>
                <c:pt idx="206">
                  <c:v>3328</c:v>
                </c:pt>
                <c:pt idx="207">
                  <c:v>3353</c:v>
                </c:pt>
                <c:pt idx="208">
                  <c:v>3382</c:v>
                </c:pt>
                <c:pt idx="209">
                  <c:v>3353</c:v>
                </c:pt>
                <c:pt idx="210">
                  <c:v>3278</c:v>
                </c:pt>
                <c:pt idx="211">
                  <c:v>3143</c:v>
                </c:pt>
                <c:pt idx="212">
                  <c:v>2995</c:v>
                </c:pt>
                <c:pt idx="213">
                  <c:v>2812</c:v>
                </c:pt>
                <c:pt idx="214">
                  <c:v>2768</c:v>
                </c:pt>
                <c:pt idx="215">
                  <c:v>2829</c:v>
                </c:pt>
                <c:pt idx="216">
                  <c:v>2844</c:v>
                </c:pt>
                <c:pt idx="217">
                  <c:v>3044</c:v>
                </c:pt>
                <c:pt idx="218">
                  <c:v>2865</c:v>
                </c:pt>
                <c:pt idx="219">
                  <c:v>2688</c:v>
                </c:pt>
                <c:pt idx="220">
                  <c:v>2417</c:v>
                </c:pt>
                <c:pt idx="221">
                  <c:v>2327</c:v>
                </c:pt>
                <c:pt idx="222">
                  <c:v>2342</c:v>
                </c:pt>
                <c:pt idx="223">
                  <c:v>2332</c:v>
                </c:pt>
                <c:pt idx="224">
                  <c:v>2240</c:v>
                </c:pt>
                <c:pt idx="225">
                  <c:v>2111</c:v>
                </c:pt>
                <c:pt idx="226">
                  <c:v>1936</c:v>
                </c:pt>
                <c:pt idx="227">
                  <c:v>1791</c:v>
                </c:pt>
                <c:pt idx="228">
                  <c:v>1761</c:v>
                </c:pt>
                <c:pt idx="229">
                  <c:v>1775</c:v>
                </c:pt>
                <c:pt idx="230">
                  <c:v>1824</c:v>
                </c:pt>
                <c:pt idx="231">
                  <c:v>1733</c:v>
                </c:pt>
                <c:pt idx="232">
                  <c:v>1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878628343815882E-2"/>
                  <c:y val="-4.939628336282259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18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FAD9-41A5-9B24-319A654422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B$2:$B$234</c:f>
              <c:numCache>
                <c:formatCode>#,##0</c:formatCode>
                <c:ptCount val="233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C$2:$C$234</c:f>
              <c:numCache>
                <c:formatCode>#,##0</c:formatCode>
                <c:ptCount val="23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D$2:$D$234</c:f>
              <c:numCache>
                <c:formatCode>#,##0</c:formatCode>
                <c:ptCount val="23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5">
                  <c:v>26</c:v>
                </c:pt>
                <c:pt idx="206">
                  <c:v>29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9</c:v>
                </c:pt>
                <c:pt idx="225">
                  <c:v>18</c:v>
                </c:pt>
                <c:pt idx="226">
                  <c:v>19</c:v>
                </c:pt>
                <c:pt idx="227">
                  <c:v>20</c:v>
                </c:pt>
                <c:pt idx="228">
                  <c:v>20</c:v>
                </c:pt>
                <c:pt idx="229" formatCode="General">
                  <c:v>21</c:v>
                </c:pt>
                <c:pt idx="230" formatCode="General">
                  <c:v>23</c:v>
                </c:pt>
                <c:pt idx="231" formatCode="General">
                  <c:v>20</c:v>
                </c:pt>
                <c:pt idx="232" formatCode="General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0886804832506937E-2"/>
                  <c:y val="-3.59245697184164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C7C-46FD-AC56-781B4A4EF2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B$2:$B$234</c:f>
              <c:numCache>
                <c:formatCode>#,##0</c:formatCode>
                <c:ptCount val="233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 formatCode="General">
                  <c:v>46</c:v>
                </c:pt>
                <c:pt idx="230" formatCode="General">
                  <c:v>42</c:v>
                </c:pt>
                <c:pt idx="231" formatCode="General">
                  <c:v>42</c:v>
                </c:pt>
                <c:pt idx="232" formatCode="General">
                  <c:v>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C$2:$C$234</c:f>
              <c:numCache>
                <c:formatCode>#,##0</c:formatCode>
                <c:ptCount val="23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D$2:$D$234</c:f>
              <c:numCache>
                <c:formatCode>#,##0</c:formatCode>
                <c:ptCount val="233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49</c:v>
                </c:pt>
                <c:pt idx="185">
                  <c:v>1669</c:v>
                </c:pt>
                <c:pt idx="186">
                  <c:v>1673</c:v>
                </c:pt>
                <c:pt idx="187">
                  <c:v>1675</c:v>
                </c:pt>
                <c:pt idx="188">
                  <c:v>1771</c:v>
                </c:pt>
                <c:pt idx="189">
                  <c:v>1801</c:v>
                </c:pt>
                <c:pt idx="190">
                  <c:v>1832</c:v>
                </c:pt>
                <c:pt idx="191">
                  <c:v>1821</c:v>
                </c:pt>
                <c:pt idx="192">
                  <c:v>1833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61</c:v>
                </c:pt>
                <c:pt idx="199">
                  <c:v>1821</c:v>
                </c:pt>
                <c:pt idx="200">
                  <c:v>1782</c:v>
                </c:pt>
                <c:pt idx="201">
                  <c:v>1806</c:v>
                </c:pt>
                <c:pt idx="202">
                  <c:v>1826</c:v>
                </c:pt>
                <c:pt idx="203">
                  <c:v>1778</c:v>
                </c:pt>
                <c:pt idx="204">
                  <c:v>1747</c:v>
                </c:pt>
                <c:pt idx="205">
                  <c:v>1745</c:v>
                </c:pt>
                <c:pt idx="206">
                  <c:v>1683</c:v>
                </c:pt>
                <c:pt idx="207">
                  <c:v>1647</c:v>
                </c:pt>
                <c:pt idx="208">
                  <c:v>1657</c:v>
                </c:pt>
                <c:pt idx="209">
                  <c:v>1667</c:v>
                </c:pt>
                <c:pt idx="210">
                  <c:v>1618</c:v>
                </c:pt>
                <c:pt idx="211">
                  <c:v>1559</c:v>
                </c:pt>
                <c:pt idx="212">
                  <c:v>1512</c:v>
                </c:pt>
                <c:pt idx="213">
                  <c:v>1428</c:v>
                </c:pt>
                <c:pt idx="214">
                  <c:v>1403</c:v>
                </c:pt>
                <c:pt idx="215">
                  <c:v>1383</c:v>
                </c:pt>
                <c:pt idx="216">
                  <c:v>1352</c:v>
                </c:pt>
                <c:pt idx="217">
                  <c:v>1404</c:v>
                </c:pt>
                <c:pt idx="218">
                  <c:v>1373</c:v>
                </c:pt>
                <c:pt idx="219">
                  <c:v>1328</c:v>
                </c:pt>
                <c:pt idx="220">
                  <c:v>1249</c:v>
                </c:pt>
                <c:pt idx="221">
                  <c:v>1233</c:v>
                </c:pt>
                <c:pt idx="222">
                  <c:v>1216</c:v>
                </c:pt>
                <c:pt idx="223">
                  <c:v>1202</c:v>
                </c:pt>
                <c:pt idx="224">
                  <c:v>1176</c:v>
                </c:pt>
                <c:pt idx="225">
                  <c:v>1135</c:v>
                </c:pt>
                <c:pt idx="226">
                  <c:v>1057</c:v>
                </c:pt>
                <c:pt idx="227">
                  <c:v>1036</c:v>
                </c:pt>
                <c:pt idx="228">
                  <c:v>994</c:v>
                </c:pt>
                <c:pt idx="229" formatCode="General">
                  <c:v>997</c:v>
                </c:pt>
                <c:pt idx="230">
                  <c:v>1015</c:v>
                </c:pt>
                <c:pt idx="231" formatCode="General">
                  <c:v>963</c:v>
                </c:pt>
                <c:pt idx="232" formatCode="General">
                  <c:v>9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56A-4EBF-8935-6E1D9BB68909}"/>
                </c:ext>
              </c:extLst>
            </c:dLbl>
            <c:dLbl>
              <c:idx val="20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56A-4EBF-8935-6E1D9BB68909}"/>
                </c:ext>
              </c:extLst>
            </c:dLbl>
            <c:dLbl>
              <c:idx val="228"/>
              <c:layout>
                <c:manualLayout>
                  <c:x val="-3.0219362317067216E-2"/>
                  <c:y val="-8.77839026269402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49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56A-4EBF-8935-6E1D9BB68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B$2:$B$234</c:f>
              <c:numCache>
                <c:formatCode>#,##0</c:formatCode>
                <c:ptCount val="233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4</c:f>
              <c:numCache>
                <c:formatCode>m/d/yyyy</c:formatCode>
                <c:ptCount val="23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</c:numCache>
            </c:numRef>
          </c:cat>
          <c:val>
            <c:numRef>
              <c:f>Sheet1!$C$2:$C$234</c:f>
              <c:numCache>
                <c:formatCode>#,##0</c:formatCode>
                <c:ptCount val="23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2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2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2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22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3938735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31976744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60553830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22258563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256518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9219954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43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Žofka Jan Mgr. Ing.</cp:lastModifiedBy>
  <cp:revision>614</cp:revision>
  <dcterms:created xsi:type="dcterms:W3CDTF">2020-08-08T14:25:07Z</dcterms:created>
  <dcterms:modified xsi:type="dcterms:W3CDTF">2021-04-22T03:59:45Z</dcterms:modified>
</cp:coreProperties>
</file>